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3"/>
  </p:handoutMasterIdLst>
  <p:sldIdLst>
    <p:sldId id="258" r:id="rId2"/>
  </p:sldIdLst>
  <p:sldSz cx="12192000" cy="6858000"/>
  <p:notesSz cx="9872663" cy="6797675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000" autoAdjust="0"/>
    <p:restoredTop sz="94660"/>
  </p:normalViewPr>
  <p:slideViewPr>
    <p:cSldViewPr snapToGrid="0">
      <p:cViewPr>
        <p:scale>
          <a:sx n="90" d="100"/>
          <a:sy n="90" d="100"/>
        </p:scale>
        <p:origin x="-1194" y="-15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handoutMaster" Target="handoutMasters/handout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278154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quarter" idx="1"/>
          </p:nvPr>
        </p:nvSpPr>
        <p:spPr>
          <a:xfrm>
            <a:off x="5592226" y="1"/>
            <a:ext cx="4278154" cy="33988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70BA91-1608-42C0-B169-E182FF0B2A70}" type="datetimeFigureOut">
              <a:rPr lang="hu-HU" smtClean="0"/>
              <a:t>2023.06.12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2"/>
          </p:nvPr>
        </p:nvSpPr>
        <p:spPr>
          <a:xfrm>
            <a:off x="1" y="6456612"/>
            <a:ext cx="4278154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3"/>
          </p:nvPr>
        </p:nvSpPr>
        <p:spPr>
          <a:xfrm>
            <a:off x="5592226" y="6456612"/>
            <a:ext cx="4278154" cy="33988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432161-EC64-4689-A605-3F187C7C6E9B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17623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/>
              <a:t>Kattintson ide az alcím mintájának szerkesztéséhez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DCA19-A12A-4877-9681-E6D0482CF327}" type="datetimeFigureOut">
              <a:rPr lang="hu-HU" smtClean="0"/>
              <a:t>2023.06.12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89265B-D294-4D31-9D63-29C14222193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8116864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DCA19-A12A-4877-9681-E6D0482CF327}" type="datetimeFigureOut">
              <a:rPr lang="hu-HU" smtClean="0"/>
              <a:t>2023.06.12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89265B-D294-4D31-9D63-29C14222193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5488807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DCA19-A12A-4877-9681-E6D0482CF327}" type="datetimeFigureOut">
              <a:rPr lang="hu-HU" smtClean="0"/>
              <a:t>2023.06.12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89265B-D294-4D31-9D63-29C14222193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6030578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DCA19-A12A-4877-9681-E6D0482CF327}" type="datetimeFigureOut">
              <a:rPr lang="hu-HU" smtClean="0"/>
              <a:t>2023.06.12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89265B-D294-4D31-9D63-29C14222193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598494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DCA19-A12A-4877-9681-E6D0482CF327}" type="datetimeFigureOut">
              <a:rPr lang="hu-HU" smtClean="0"/>
              <a:t>2023.06.12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89265B-D294-4D31-9D63-29C14222193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8901918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DCA19-A12A-4877-9681-E6D0482CF327}" type="datetimeFigureOut">
              <a:rPr lang="hu-HU" smtClean="0"/>
              <a:t>2023.06.12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89265B-D294-4D31-9D63-29C14222193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049759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7" name="Dátum hely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DCA19-A12A-4877-9681-E6D0482CF327}" type="datetimeFigureOut">
              <a:rPr lang="hu-HU" smtClean="0"/>
              <a:t>2023.06.12</a:t>
            </a:fld>
            <a:endParaRPr lang="hu-HU"/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89265B-D294-4D31-9D63-29C14222193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0850449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/>
              <a:t>Mintacím szerkesztése</a:t>
            </a:r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DCA19-A12A-4877-9681-E6D0482CF327}" type="datetimeFigureOut">
              <a:rPr lang="hu-HU" smtClean="0"/>
              <a:t>2023.06.12</a:t>
            </a:fld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89265B-D294-4D31-9D63-29C14222193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537397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DCA19-A12A-4877-9681-E6D0482CF327}" type="datetimeFigureOut">
              <a:rPr lang="hu-HU" smtClean="0"/>
              <a:t>2023.06.12</a:t>
            </a:fld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89265B-D294-4D31-9D63-29C14222193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151328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DCA19-A12A-4877-9681-E6D0482CF327}" type="datetimeFigureOut">
              <a:rPr lang="hu-HU" smtClean="0"/>
              <a:t>2023.06.12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89265B-D294-4D31-9D63-29C14222193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804775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/>
              <a:t>Mintacím szerkesztése</a:t>
            </a:r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9DCA19-A12A-4877-9681-E6D0482CF327}" type="datetimeFigureOut">
              <a:rPr lang="hu-HU" smtClean="0"/>
              <a:t>2023.06.12</a:t>
            </a:fld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689265B-D294-4D31-9D63-29C14222193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701266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hely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/>
              <a:t>Mintacím szerkesztése</a:t>
            </a:r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99DCA19-A12A-4877-9681-E6D0482CF327}" type="datetimeFigureOut">
              <a:rPr lang="hu-HU" smtClean="0"/>
              <a:t>2023.06.12</a:t>
            </a:fld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689265B-D294-4D31-9D63-29C142221930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5940044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xmlns="" id="{06846F91-7C25-459B-A7C5-9D01F3FD8C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4"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5" name="Objektum 4" hidden="1">
                        <a:extLst>
                          <a:ext uri="{FF2B5EF4-FFF2-40B4-BE49-F238E27FC236}">
                            <a16:creationId xmlns:a16="http://schemas.microsoft.com/office/drawing/2014/main" xmlns="" id="{06846F91-7C25-459B-A7C5-9D01F3FD8C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églalap 3" hidden="1">
            <a:extLst>
              <a:ext uri="{FF2B5EF4-FFF2-40B4-BE49-F238E27FC236}">
                <a16:creationId xmlns:a16="http://schemas.microsoft.com/office/drawing/2014/main" xmlns="" id="{A1CCAFAA-7C2A-418B-992A-50563F4539B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hu-HU" b="1" dirty="0">
              <a:solidFill>
                <a:schemeClr val="accent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xmlns="" id="{FA97E1C3-97C1-46C9-942D-91E9B92B3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3857" y="172039"/>
            <a:ext cx="10515600" cy="566204"/>
          </a:xfrm>
        </p:spPr>
        <p:txBody>
          <a:bodyPr>
            <a:normAutofit/>
          </a:bodyPr>
          <a:lstStyle/>
          <a:p>
            <a:pPr algn="l"/>
            <a:r>
              <a:rPr lang="hu-H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Városi intézmény felépítése</a:t>
            </a:r>
          </a:p>
        </p:txBody>
      </p:sp>
      <p:sp>
        <p:nvSpPr>
          <p:cNvPr id="3" name="Dia számának helye 2">
            <a:extLst>
              <a:ext uri="{FF2B5EF4-FFF2-40B4-BE49-F238E27FC236}">
                <a16:creationId xmlns:a16="http://schemas.microsoft.com/office/drawing/2014/main" xmlns="" id="{47868BA6-DCF0-430D-9B26-DB436D9AD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557437" y="6324599"/>
            <a:ext cx="2743200" cy="365125"/>
          </a:xfrm>
        </p:spPr>
        <p:txBody>
          <a:bodyPr/>
          <a:lstStyle/>
          <a:p>
            <a:pPr>
              <a:defRPr/>
            </a:pPr>
            <a:fld id="{B71DDA89-2CAF-4C66-9E06-4A5141ED5437}" type="slidenum">
              <a:rPr lang="hu-HU" smtClean="0">
                <a:latin typeface="Times New Roman" panose="02020603050405020304" pitchFamily="18" charset="0"/>
                <a:cs typeface="Times New Roman" panose="02020603050405020304" pitchFamily="18" charset="0"/>
              </a:rPr>
              <a:pPr>
                <a:defRPr/>
              </a:pPr>
              <a:t>1</a:t>
            </a:fld>
            <a:endParaRPr lang="hu-H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églalap 5">
            <a:extLst>
              <a:ext uri="{FF2B5EF4-FFF2-40B4-BE49-F238E27FC236}">
                <a16:creationId xmlns:a16="http://schemas.microsoft.com/office/drawing/2014/main" xmlns="" id="{8C819649-7CEF-4ACE-A262-6CBD444E06F8}"/>
              </a:ext>
            </a:extLst>
          </p:cNvPr>
          <p:cNvSpPr/>
          <p:nvPr/>
        </p:nvSpPr>
        <p:spPr>
          <a:xfrm>
            <a:off x="3897411" y="760353"/>
            <a:ext cx="1089241" cy="504106"/>
          </a:xfrm>
          <a:prstGeom prst="rect">
            <a:avLst/>
          </a:prstGeom>
          <a:solidFill>
            <a:srgbClr val="FF0000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őigazgató</a:t>
            </a:r>
          </a:p>
        </p:txBody>
      </p:sp>
      <p:sp>
        <p:nvSpPr>
          <p:cNvPr id="12" name="Téglalap 11">
            <a:extLst>
              <a:ext uri="{FF2B5EF4-FFF2-40B4-BE49-F238E27FC236}">
                <a16:creationId xmlns:a16="http://schemas.microsoft.com/office/drawing/2014/main" xmlns="" id="{E5DBA36F-FC29-43AA-9F38-AE9108A1D406}"/>
              </a:ext>
            </a:extLst>
          </p:cNvPr>
          <p:cNvSpPr/>
          <p:nvPr/>
        </p:nvSpPr>
        <p:spPr>
          <a:xfrm>
            <a:off x="2552948" y="2198357"/>
            <a:ext cx="1089241" cy="446943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ézeti főgyógyszerész, gyógyszerészek</a:t>
            </a:r>
            <a:endParaRPr lang="hu-HU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6" name="Összekötő: szögletes 15">
            <a:extLst>
              <a:ext uri="{FF2B5EF4-FFF2-40B4-BE49-F238E27FC236}">
                <a16:creationId xmlns:a16="http://schemas.microsoft.com/office/drawing/2014/main" xmlns="" id="{68191EBF-E37B-476C-A3E0-4F34118626DF}"/>
              </a:ext>
            </a:extLst>
          </p:cNvPr>
          <p:cNvCxnSpPr>
            <a:cxnSpLocks/>
            <a:stCxn id="6" idx="2"/>
            <a:endCxn id="97" idx="0"/>
          </p:cNvCxnSpPr>
          <p:nvPr/>
        </p:nvCxnSpPr>
        <p:spPr>
          <a:xfrm rot="5400000">
            <a:off x="2974442" y="204305"/>
            <a:ext cx="407436" cy="2527744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Összekötő: szögletes 29">
            <a:extLst>
              <a:ext uri="{FF2B5EF4-FFF2-40B4-BE49-F238E27FC236}">
                <a16:creationId xmlns:a16="http://schemas.microsoft.com/office/drawing/2014/main" xmlns="" id="{48A7C490-32EA-4B1E-BD2F-1351EE4FAF3C}"/>
              </a:ext>
            </a:extLst>
          </p:cNvPr>
          <p:cNvCxnSpPr>
            <a:cxnSpLocks/>
            <a:stCxn id="6" idx="2"/>
            <a:endCxn id="100" idx="0"/>
          </p:cNvCxnSpPr>
          <p:nvPr/>
        </p:nvCxnSpPr>
        <p:spPr>
          <a:xfrm rot="5400000">
            <a:off x="3567021" y="795006"/>
            <a:ext cx="405559" cy="1344464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Összekötő: szögletes 43">
            <a:extLst>
              <a:ext uri="{FF2B5EF4-FFF2-40B4-BE49-F238E27FC236}">
                <a16:creationId xmlns:a16="http://schemas.microsoft.com/office/drawing/2014/main" xmlns="" id="{8170CA0C-276F-4424-A974-5FC43358E592}"/>
              </a:ext>
            </a:extLst>
          </p:cNvPr>
          <p:cNvCxnSpPr>
            <a:cxnSpLocks/>
            <a:stCxn id="6" idx="2"/>
            <a:endCxn id="71" idx="0"/>
          </p:cNvCxnSpPr>
          <p:nvPr/>
        </p:nvCxnSpPr>
        <p:spPr>
          <a:xfrm rot="5400000">
            <a:off x="2610919" y="1206488"/>
            <a:ext cx="1773142" cy="1889084"/>
          </a:xfrm>
          <a:prstGeom prst="bentConnector3">
            <a:avLst>
              <a:gd name="adj1" fmla="val 92575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Összekötő: szögletes 44">
            <a:extLst>
              <a:ext uri="{FF2B5EF4-FFF2-40B4-BE49-F238E27FC236}">
                <a16:creationId xmlns:a16="http://schemas.microsoft.com/office/drawing/2014/main" xmlns="" id="{E5002E37-5854-41EE-9D1D-2BEEF00A4661}"/>
              </a:ext>
            </a:extLst>
          </p:cNvPr>
          <p:cNvCxnSpPr>
            <a:cxnSpLocks/>
            <a:stCxn id="6" idx="2"/>
            <a:endCxn id="66" idx="0"/>
          </p:cNvCxnSpPr>
          <p:nvPr/>
        </p:nvCxnSpPr>
        <p:spPr>
          <a:xfrm rot="16200000" flipH="1">
            <a:off x="4173741" y="1532750"/>
            <a:ext cx="1806205" cy="1269622"/>
          </a:xfrm>
          <a:prstGeom prst="bentConnector3">
            <a:avLst>
              <a:gd name="adj1" fmla="val 91207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Téglalap 123">
            <a:extLst>
              <a:ext uri="{FF2B5EF4-FFF2-40B4-BE49-F238E27FC236}">
                <a16:creationId xmlns:a16="http://schemas.microsoft.com/office/drawing/2014/main" xmlns="" id="{09115482-B447-4BF8-B2FE-D3CBEB3AF1DB}"/>
              </a:ext>
            </a:extLst>
          </p:cNvPr>
          <p:cNvSpPr/>
          <p:nvPr/>
        </p:nvSpPr>
        <p:spPr>
          <a:xfrm>
            <a:off x="186388" y="2189933"/>
            <a:ext cx="1089241" cy="455368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őigazgatói titkárság</a:t>
            </a:r>
          </a:p>
        </p:txBody>
      </p:sp>
      <p:cxnSp>
        <p:nvCxnSpPr>
          <p:cNvPr id="125" name="Összekötő: szögletes 124">
            <a:extLst>
              <a:ext uri="{FF2B5EF4-FFF2-40B4-BE49-F238E27FC236}">
                <a16:creationId xmlns:a16="http://schemas.microsoft.com/office/drawing/2014/main" xmlns="" id="{B7A23999-44EA-4C8B-B21F-6348D41D5693}"/>
              </a:ext>
            </a:extLst>
          </p:cNvPr>
          <p:cNvCxnSpPr>
            <a:cxnSpLocks/>
            <a:stCxn id="6" idx="2"/>
            <a:endCxn id="124" idx="2"/>
          </p:cNvCxnSpPr>
          <p:nvPr/>
        </p:nvCxnSpPr>
        <p:spPr>
          <a:xfrm rot="5400000">
            <a:off x="1896100" y="99369"/>
            <a:ext cx="1380842" cy="3711023"/>
          </a:xfrm>
          <a:prstGeom prst="bentConnector3">
            <a:avLst>
              <a:gd name="adj1" fmla="val 112067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églalap 63">
            <a:extLst>
              <a:ext uri="{FF2B5EF4-FFF2-40B4-BE49-F238E27FC236}">
                <a16:creationId xmlns:a16="http://schemas.microsoft.com/office/drawing/2014/main" xmlns="" id="{3CF5EABF-13AC-48B1-8440-F4CF2A0D1131}"/>
              </a:ext>
            </a:extLst>
          </p:cNvPr>
          <p:cNvSpPr/>
          <p:nvPr/>
        </p:nvSpPr>
        <p:spPr>
          <a:xfrm>
            <a:off x="1373207" y="2189223"/>
            <a:ext cx="1089241" cy="456075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gyei döntéselőkészítés és koordináció</a:t>
            </a:r>
          </a:p>
        </p:txBody>
      </p:sp>
      <p:cxnSp>
        <p:nvCxnSpPr>
          <p:cNvPr id="76" name="Összekötő: szögletes 32">
            <a:extLst>
              <a:ext uri="{FF2B5EF4-FFF2-40B4-BE49-F238E27FC236}">
                <a16:creationId xmlns:a16="http://schemas.microsoft.com/office/drawing/2014/main" xmlns="" id="{40F6C71C-C76F-4B60-AD84-94A626C3454F}"/>
              </a:ext>
            </a:extLst>
          </p:cNvPr>
          <p:cNvCxnSpPr>
            <a:cxnSpLocks/>
            <a:stCxn id="6" idx="2"/>
            <a:endCxn id="64" idx="2"/>
          </p:cNvCxnSpPr>
          <p:nvPr/>
        </p:nvCxnSpPr>
        <p:spPr>
          <a:xfrm rot="5400000">
            <a:off x="2489511" y="692776"/>
            <a:ext cx="1380839" cy="2524204"/>
          </a:xfrm>
          <a:prstGeom prst="bentConnector3">
            <a:avLst>
              <a:gd name="adj1" fmla="val 111935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Téglalap 96">
            <a:extLst>
              <a:ext uri="{FF2B5EF4-FFF2-40B4-BE49-F238E27FC236}">
                <a16:creationId xmlns:a16="http://schemas.microsoft.com/office/drawing/2014/main" xmlns="" id="{69F7BF56-C4E9-4110-A160-B7DE3D05CA15}"/>
              </a:ext>
            </a:extLst>
          </p:cNvPr>
          <p:cNvSpPr/>
          <p:nvPr/>
        </p:nvSpPr>
        <p:spPr>
          <a:xfrm>
            <a:off x="1369667" y="1671895"/>
            <a:ext cx="1089241" cy="445066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egritás felelős</a:t>
            </a:r>
          </a:p>
        </p:txBody>
      </p:sp>
      <p:sp>
        <p:nvSpPr>
          <p:cNvPr id="100" name="Téglalap 99">
            <a:extLst>
              <a:ext uri="{FF2B5EF4-FFF2-40B4-BE49-F238E27FC236}">
                <a16:creationId xmlns:a16="http://schemas.microsoft.com/office/drawing/2014/main" xmlns="" id="{E5DBA36F-FC29-43AA-9F38-AE9108A1D406}"/>
              </a:ext>
            </a:extLst>
          </p:cNvPr>
          <p:cNvSpPr/>
          <p:nvPr/>
        </p:nvSpPr>
        <p:spPr>
          <a:xfrm>
            <a:off x="2552947" y="1670018"/>
            <a:ext cx="1089241" cy="446943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formációbiztonsági felelős</a:t>
            </a:r>
            <a:endParaRPr lang="hu-HU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03" name="Összekötő: szögletes 29">
            <a:extLst>
              <a:ext uri="{FF2B5EF4-FFF2-40B4-BE49-F238E27FC236}">
                <a16:creationId xmlns:a16="http://schemas.microsoft.com/office/drawing/2014/main" xmlns="" id="{48A7C490-32EA-4B1E-BD2F-1351EE4FAF3C}"/>
              </a:ext>
            </a:extLst>
          </p:cNvPr>
          <p:cNvCxnSpPr>
            <a:cxnSpLocks/>
            <a:stCxn id="6" idx="2"/>
            <a:endCxn id="12" idx="2"/>
          </p:cNvCxnSpPr>
          <p:nvPr/>
        </p:nvCxnSpPr>
        <p:spPr>
          <a:xfrm rot="5400000">
            <a:off x="3079381" y="1282648"/>
            <a:ext cx="1380841" cy="1344463"/>
          </a:xfrm>
          <a:prstGeom prst="bentConnector3">
            <a:avLst>
              <a:gd name="adj1" fmla="val 112067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Téglalap 103">
            <a:extLst>
              <a:ext uri="{FF2B5EF4-FFF2-40B4-BE49-F238E27FC236}">
                <a16:creationId xmlns:a16="http://schemas.microsoft.com/office/drawing/2014/main" xmlns="" id="{09115482-B447-4BF8-B2FE-D3CBEB3AF1DB}"/>
              </a:ext>
            </a:extLst>
          </p:cNvPr>
          <p:cNvSpPr/>
          <p:nvPr/>
        </p:nvSpPr>
        <p:spPr>
          <a:xfrm>
            <a:off x="186387" y="1661594"/>
            <a:ext cx="1089241" cy="455368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atvédelmi tisztségviselő</a:t>
            </a:r>
          </a:p>
        </p:txBody>
      </p:sp>
      <p:cxnSp>
        <p:nvCxnSpPr>
          <p:cNvPr id="106" name="Összekötő: szögletes 124">
            <a:extLst>
              <a:ext uri="{FF2B5EF4-FFF2-40B4-BE49-F238E27FC236}">
                <a16:creationId xmlns:a16="http://schemas.microsoft.com/office/drawing/2014/main" xmlns="" id="{B7A23999-44EA-4C8B-B21F-6348D41D5693}"/>
              </a:ext>
            </a:extLst>
          </p:cNvPr>
          <p:cNvCxnSpPr>
            <a:cxnSpLocks/>
            <a:stCxn id="6" idx="2"/>
            <a:endCxn id="104" idx="0"/>
          </p:cNvCxnSpPr>
          <p:nvPr/>
        </p:nvCxnSpPr>
        <p:spPr>
          <a:xfrm rot="5400000">
            <a:off x="2387953" y="-392486"/>
            <a:ext cx="397135" cy="3711024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églalap 48">
            <a:extLst>
              <a:ext uri="{FF2B5EF4-FFF2-40B4-BE49-F238E27FC236}">
                <a16:creationId xmlns:a16="http://schemas.microsoft.com/office/drawing/2014/main" xmlns="" id="{E091A588-F94A-4F49-9E5C-A087CD7BF76F}"/>
              </a:ext>
            </a:extLst>
          </p:cNvPr>
          <p:cNvSpPr/>
          <p:nvPr/>
        </p:nvSpPr>
        <p:spPr>
          <a:xfrm>
            <a:off x="6352537" y="1649727"/>
            <a:ext cx="1089241" cy="68433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Járóbeteg</a:t>
            </a:r>
            <a:r>
              <a:rPr lang="hu-HU" sz="1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szakellátás és gondozás vezető főorvos</a:t>
            </a:r>
            <a:endParaRPr lang="hu-HU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Cím 1">
            <a:extLst>
              <a:ext uri="{FF2B5EF4-FFF2-40B4-BE49-F238E27FC236}">
                <a16:creationId xmlns:a16="http://schemas.microsoft.com/office/drawing/2014/main" xmlns="" id="{FA97E1C3-97C1-46C9-942D-91E9B92B3D88}"/>
              </a:ext>
            </a:extLst>
          </p:cNvPr>
          <p:cNvSpPr txBox="1">
            <a:spLocks/>
          </p:cNvSpPr>
          <p:nvPr/>
        </p:nvSpPr>
        <p:spPr>
          <a:xfrm>
            <a:off x="6699032" y="172039"/>
            <a:ext cx="5090413" cy="5662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hu-H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ZMSZ 1. sz. melléklete</a:t>
            </a:r>
          </a:p>
        </p:txBody>
      </p:sp>
      <p:sp>
        <p:nvSpPr>
          <p:cNvPr id="66" name="Téglalap 65">
            <a:extLst>
              <a:ext uri="{FF2B5EF4-FFF2-40B4-BE49-F238E27FC236}">
                <a16:creationId xmlns:a16="http://schemas.microsoft.com/office/drawing/2014/main" xmlns="" id="{B5473C48-396C-4567-9AFD-72F4BDFB974A}"/>
              </a:ext>
            </a:extLst>
          </p:cNvPr>
          <p:cNvSpPr/>
          <p:nvPr/>
        </p:nvSpPr>
        <p:spPr>
          <a:xfrm>
            <a:off x="5167033" y="3070664"/>
            <a:ext cx="1089241" cy="50410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Ápolási igazgató </a:t>
            </a:r>
          </a:p>
        </p:txBody>
      </p:sp>
      <p:sp>
        <p:nvSpPr>
          <p:cNvPr id="71" name="Téglalap 70">
            <a:extLst>
              <a:ext uri="{FF2B5EF4-FFF2-40B4-BE49-F238E27FC236}">
                <a16:creationId xmlns:a16="http://schemas.microsoft.com/office/drawing/2014/main" xmlns="" id="{E091A588-F94A-4F49-9E5C-A087CD7BF76F}"/>
              </a:ext>
            </a:extLst>
          </p:cNvPr>
          <p:cNvSpPr/>
          <p:nvPr/>
        </p:nvSpPr>
        <p:spPr>
          <a:xfrm>
            <a:off x="2008327" y="3037601"/>
            <a:ext cx="1089241" cy="504106"/>
          </a:xfrm>
          <a:prstGeom prst="rect">
            <a:avLst/>
          </a:prstGeom>
          <a:solidFill>
            <a:srgbClr val="00B050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rvosigazgató</a:t>
            </a:r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72" name="Téglalap 71">
            <a:extLst>
              <a:ext uri="{FF2B5EF4-FFF2-40B4-BE49-F238E27FC236}">
                <a16:creationId xmlns:a16="http://schemas.microsoft.com/office/drawing/2014/main" xmlns="" id="{6A022A6C-43A9-4029-BA32-1A71D1162943}"/>
              </a:ext>
            </a:extLst>
          </p:cNvPr>
          <p:cNvSpPr/>
          <p:nvPr/>
        </p:nvSpPr>
        <p:spPr>
          <a:xfrm>
            <a:off x="7656774" y="1676525"/>
            <a:ext cx="1633862" cy="630740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tézményi </a:t>
            </a:r>
            <a:r>
              <a:rPr lang="hu-HU" sz="100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fekciókontroll (kórház higiénikus, epidemiológiai szakápoló)</a:t>
            </a:r>
            <a:endParaRPr lang="hu-HU" sz="10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75" name="Összekötő: szögletes 119">
            <a:extLst>
              <a:ext uri="{FF2B5EF4-FFF2-40B4-BE49-F238E27FC236}">
                <a16:creationId xmlns:a16="http://schemas.microsoft.com/office/drawing/2014/main" xmlns="" id="{5B5B61AA-BD4C-4648-8654-58A9E6C9592A}"/>
              </a:ext>
            </a:extLst>
          </p:cNvPr>
          <p:cNvCxnSpPr>
            <a:cxnSpLocks/>
            <a:stCxn id="6" idx="2"/>
            <a:endCxn id="72" idx="0"/>
          </p:cNvCxnSpPr>
          <p:nvPr/>
        </p:nvCxnSpPr>
        <p:spPr>
          <a:xfrm rot="16200000" flipH="1">
            <a:off x="6251835" y="-545345"/>
            <a:ext cx="412066" cy="4031673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églalap 81">
            <a:extLst>
              <a:ext uri="{FF2B5EF4-FFF2-40B4-BE49-F238E27FC236}">
                <a16:creationId xmlns:a16="http://schemas.microsoft.com/office/drawing/2014/main" xmlns="" id="{E5DBA36F-FC29-43AA-9F38-AE9108A1D406}"/>
              </a:ext>
            </a:extLst>
          </p:cNvPr>
          <p:cNvSpPr/>
          <p:nvPr/>
        </p:nvSpPr>
        <p:spPr>
          <a:xfrm>
            <a:off x="5028332" y="1676525"/>
            <a:ext cx="1089241" cy="630740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rányító megyei intézmény által átadott tevékenység</a:t>
            </a:r>
          </a:p>
        </p:txBody>
      </p:sp>
      <p:cxnSp>
        <p:nvCxnSpPr>
          <p:cNvPr id="83" name="Összekötő: szögletes 29">
            <a:extLst>
              <a:ext uri="{FF2B5EF4-FFF2-40B4-BE49-F238E27FC236}">
                <a16:creationId xmlns:a16="http://schemas.microsoft.com/office/drawing/2014/main" xmlns="" id="{48A7C490-32EA-4B1E-BD2F-1351EE4FAF3C}"/>
              </a:ext>
            </a:extLst>
          </p:cNvPr>
          <p:cNvCxnSpPr>
            <a:cxnSpLocks/>
            <a:stCxn id="6" idx="2"/>
            <a:endCxn id="82" idx="0"/>
          </p:cNvCxnSpPr>
          <p:nvPr/>
        </p:nvCxnSpPr>
        <p:spPr>
          <a:xfrm rot="16200000" flipH="1">
            <a:off x="4801459" y="905031"/>
            <a:ext cx="412066" cy="1130921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Összekötő: szögletes 29">
            <a:extLst>
              <a:ext uri="{FF2B5EF4-FFF2-40B4-BE49-F238E27FC236}">
                <a16:creationId xmlns:a16="http://schemas.microsoft.com/office/drawing/2014/main" xmlns="" id="{48A7C490-32EA-4B1E-BD2F-1351EE4FAF3C}"/>
              </a:ext>
            </a:extLst>
          </p:cNvPr>
          <p:cNvCxnSpPr>
            <a:cxnSpLocks/>
            <a:stCxn id="6" idx="2"/>
          </p:cNvCxnSpPr>
          <p:nvPr/>
        </p:nvCxnSpPr>
        <p:spPr>
          <a:xfrm rot="16200000" flipH="1">
            <a:off x="5561587" y="144903"/>
            <a:ext cx="206032" cy="2445143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Egyenes összekötő 7"/>
          <p:cNvCxnSpPr/>
          <p:nvPr/>
        </p:nvCxnSpPr>
        <p:spPr>
          <a:xfrm flipH="1">
            <a:off x="466727" y="2645302"/>
            <a:ext cx="1" cy="390440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Egyenes összekötő 9"/>
          <p:cNvCxnSpPr/>
          <p:nvPr/>
        </p:nvCxnSpPr>
        <p:spPr>
          <a:xfrm>
            <a:off x="476250" y="3736054"/>
            <a:ext cx="51435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Egyenes összekötő 16"/>
          <p:cNvCxnSpPr/>
          <p:nvPr/>
        </p:nvCxnSpPr>
        <p:spPr>
          <a:xfrm flipV="1">
            <a:off x="466725" y="4087200"/>
            <a:ext cx="476012" cy="2722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gyenes összekötő 18"/>
          <p:cNvCxnSpPr/>
          <p:nvPr/>
        </p:nvCxnSpPr>
        <p:spPr>
          <a:xfrm>
            <a:off x="457200" y="4628571"/>
            <a:ext cx="504825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Egyenes összekötő 20"/>
          <p:cNvCxnSpPr/>
          <p:nvPr/>
        </p:nvCxnSpPr>
        <p:spPr>
          <a:xfrm>
            <a:off x="466725" y="5094457"/>
            <a:ext cx="51435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Egyenes összekötő 22"/>
          <p:cNvCxnSpPr/>
          <p:nvPr/>
        </p:nvCxnSpPr>
        <p:spPr>
          <a:xfrm>
            <a:off x="457200" y="5518785"/>
            <a:ext cx="547568" cy="1524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 Box 4"/>
          <p:cNvSpPr txBox="1">
            <a:spLocks noChangeArrowheads="1"/>
          </p:cNvSpPr>
          <p:nvPr/>
        </p:nvSpPr>
        <p:spPr bwMode="auto">
          <a:xfrm>
            <a:off x="931210" y="3593057"/>
            <a:ext cx="1001782" cy="323850"/>
          </a:xfrm>
          <a:prstGeom prst="rect">
            <a:avLst/>
          </a:prstGeom>
          <a:solidFill>
            <a:srgbClr val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hu-H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Minőségirányítási munkatárs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Text Box 5"/>
          <p:cNvSpPr txBox="1">
            <a:spLocks noChangeArrowheads="1"/>
          </p:cNvSpPr>
          <p:nvPr/>
        </p:nvSpPr>
        <p:spPr bwMode="auto">
          <a:xfrm>
            <a:off x="931210" y="3276473"/>
            <a:ext cx="992671" cy="265234"/>
          </a:xfrm>
          <a:prstGeom prst="rect">
            <a:avLst/>
          </a:prstGeom>
          <a:solidFill>
            <a:srgbClr val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hu-HU" sz="800" dirty="0" smtClean="0">
                <a:latin typeface="Calibri" pitchFamily="34" charset="0"/>
                <a:cs typeface="Arial" pitchFamily="34" charset="0"/>
              </a:rPr>
              <a:t>Jogi tanácsadó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Text Box 6"/>
          <p:cNvSpPr txBox="1">
            <a:spLocks noChangeArrowheads="1"/>
          </p:cNvSpPr>
          <p:nvPr/>
        </p:nvSpPr>
        <p:spPr bwMode="auto">
          <a:xfrm>
            <a:off x="931210" y="4471249"/>
            <a:ext cx="1014206" cy="475412"/>
          </a:xfrm>
          <a:prstGeom prst="rect">
            <a:avLst/>
          </a:prstGeom>
          <a:solidFill>
            <a:srgbClr val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hu-H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Egészségfejlesztési, Lelki egészségi fejlesztési iroda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Text Box 10"/>
          <p:cNvSpPr txBox="1">
            <a:spLocks noChangeArrowheads="1"/>
          </p:cNvSpPr>
          <p:nvPr/>
        </p:nvSpPr>
        <p:spPr bwMode="auto">
          <a:xfrm>
            <a:off x="931210" y="3977511"/>
            <a:ext cx="1014206" cy="459628"/>
          </a:xfrm>
          <a:prstGeom prst="rect">
            <a:avLst/>
          </a:prstGeom>
          <a:solidFill>
            <a:srgbClr val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hu-H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Munka- és tűzvédelmi előadó felelős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Text Box 2"/>
          <p:cNvSpPr txBox="1">
            <a:spLocks noChangeArrowheads="1"/>
          </p:cNvSpPr>
          <p:nvPr/>
        </p:nvSpPr>
        <p:spPr bwMode="auto">
          <a:xfrm>
            <a:off x="931210" y="4981137"/>
            <a:ext cx="1014206" cy="357188"/>
          </a:xfrm>
          <a:prstGeom prst="rect">
            <a:avLst/>
          </a:prstGeom>
          <a:solidFill>
            <a:srgbClr val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hu-HU" sz="800" dirty="0" smtClean="0">
                <a:latin typeface="Calibri" pitchFamily="34" charset="0"/>
                <a:cs typeface="Arial" pitchFamily="34" charset="0"/>
              </a:rPr>
              <a:t>Központi postázó, iktató és irattáros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70" name="Egyenes összekötő 69"/>
          <p:cNvCxnSpPr>
            <a:endCxn id="61" idx="1"/>
          </p:cNvCxnSpPr>
          <p:nvPr/>
        </p:nvCxnSpPr>
        <p:spPr>
          <a:xfrm>
            <a:off x="466728" y="3391202"/>
            <a:ext cx="464482" cy="1788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 Box 2"/>
          <p:cNvSpPr txBox="1">
            <a:spLocks noChangeArrowheads="1"/>
          </p:cNvSpPr>
          <p:nvPr/>
        </p:nvSpPr>
        <p:spPr bwMode="auto">
          <a:xfrm>
            <a:off x="942737" y="2859007"/>
            <a:ext cx="981144" cy="357188"/>
          </a:xfrm>
          <a:prstGeom prst="rect">
            <a:avLst/>
          </a:prstGeom>
          <a:solidFill>
            <a:srgbClr val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hu-H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Főigazgatói asszisztens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6" name="Egyenes összekötő 85"/>
          <p:cNvCxnSpPr/>
          <p:nvPr/>
        </p:nvCxnSpPr>
        <p:spPr>
          <a:xfrm>
            <a:off x="457200" y="3068109"/>
            <a:ext cx="485537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 Box 34"/>
          <p:cNvSpPr txBox="1">
            <a:spLocks noChangeArrowheads="1"/>
          </p:cNvSpPr>
          <p:nvPr/>
        </p:nvSpPr>
        <p:spPr bwMode="auto">
          <a:xfrm>
            <a:off x="3317162" y="3084507"/>
            <a:ext cx="1028700" cy="457200"/>
          </a:xfrm>
          <a:prstGeom prst="rect">
            <a:avLst/>
          </a:prstGeom>
          <a:solidFill>
            <a:srgbClr val="FFFFFF"/>
          </a:solidFill>
          <a:ln w="9525">
            <a:solidFill>
              <a:srgbClr val="00B05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hu-H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Orvos Igazgatói Titkárság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Text Box 12"/>
          <p:cNvSpPr txBox="1">
            <a:spLocks noChangeArrowheads="1"/>
          </p:cNvSpPr>
          <p:nvPr/>
        </p:nvSpPr>
        <p:spPr bwMode="auto">
          <a:xfrm>
            <a:off x="2095747" y="4538283"/>
            <a:ext cx="914400" cy="341344"/>
          </a:xfrm>
          <a:prstGeom prst="rect">
            <a:avLst/>
          </a:prstGeom>
          <a:solidFill>
            <a:srgbClr val="FFFFFF"/>
          </a:solidFill>
          <a:ln w="9525">
            <a:solidFill>
              <a:srgbClr val="00B05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hu-HU" sz="800" dirty="0" smtClean="0">
                <a:latin typeface="Calibri" pitchFamily="34" charset="0"/>
                <a:cs typeface="Arial" pitchFamily="34" charset="0"/>
              </a:rPr>
              <a:t>Képalkotó diagnosztika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Text Box 12"/>
          <p:cNvSpPr txBox="1">
            <a:spLocks noChangeArrowheads="1"/>
          </p:cNvSpPr>
          <p:nvPr/>
        </p:nvSpPr>
        <p:spPr bwMode="auto">
          <a:xfrm>
            <a:off x="2095748" y="4932087"/>
            <a:ext cx="914400" cy="593757"/>
          </a:xfrm>
          <a:prstGeom prst="rect">
            <a:avLst/>
          </a:prstGeom>
          <a:solidFill>
            <a:srgbClr val="FFFFFF"/>
          </a:solidFill>
          <a:ln w="9525">
            <a:solidFill>
              <a:srgbClr val="00B05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hu-HU" sz="800" dirty="0" smtClean="0">
                <a:latin typeface="Calibri" pitchFamily="34" charset="0"/>
                <a:cs typeface="Arial" pitchFamily="34" charset="0"/>
              </a:rPr>
              <a:t>Összevont laboratórium és </a:t>
            </a:r>
            <a:r>
              <a:rPr lang="hu-HU" sz="800" dirty="0" err="1" smtClean="0">
                <a:latin typeface="Calibri" pitchFamily="34" charset="0"/>
                <a:cs typeface="Arial" pitchFamily="34" charset="0"/>
              </a:rPr>
              <a:t>transzfúziológiai</a:t>
            </a:r>
            <a:r>
              <a:rPr lang="hu-HU" sz="800" dirty="0" smtClean="0">
                <a:latin typeface="Calibri" pitchFamily="34" charset="0"/>
                <a:cs typeface="Arial" pitchFamily="34" charset="0"/>
              </a:rPr>
              <a:t> osztály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Text Box 12"/>
          <p:cNvSpPr txBox="1">
            <a:spLocks noChangeArrowheads="1"/>
          </p:cNvSpPr>
          <p:nvPr/>
        </p:nvSpPr>
        <p:spPr bwMode="auto">
          <a:xfrm>
            <a:off x="2095747" y="4040663"/>
            <a:ext cx="914400" cy="419815"/>
          </a:xfrm>
          <a:prstGeom prst="rect">
            <a:avLst/>
          </a:prstGeom>
          <a:solidFill>
            <a:srgbClr val="FFFFFF"/>
          </a:solidFill>
          <a:ln w="9525">
            <a:solidFill>
              <a:srgbClr val="00B05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hu-HU" sz="800" dirty="0" smtClean="0">
                <a:latin typeface="Calibri" pitchFamily="34" charset="0"/>
                <a:cs typeface="Arial" pitchFamily="34" charset="0"/>
              </a:rPr>
              <a:t>Krónikus fekvőbeteg osztályok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Text Box 12"/>
          <p:cNvSpPr txBox="1">
            <a:spLocks noChangeArrowheads="1"/>
          </p:cNvSpPr>
          <p:nvPr/>
        </p:nvSpPr>
        <p:spPr bwMode="auto">
          <a:xfrm>
            <a:off x="2095748" y="3623310"/>
            <a:ext cx="914400" cy="341344"/>
          </a:xfrm>
          <a:prstGeom prst="rect">
            <a:avLst/>
          </a:prstGeom>
          <a:solidFill>
            <a:srgbClr val="FFFFFF"/>
          </a:solidFill>
          <a:ln w="9525">
            <a:solidFill>
              <a:srgbClr val="00B05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hu-HU" sz="800" dirty="0" smtClean="0">
                <a:latin typeface="Calibri" pitchFamily="34" charset="0"/>
                <a:cs typeface="Arial" pitchFamily="34" charset="0"/>
              </a:rPr>
              <a:t>Aktív fekvőbeteg osztályok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8" name="Text Box 24"/>
          <p:cNvSpPr txBox="1">
            <a:spLocks noChangeArrowheads="1"/>
          </p:cNvSpPr>
          <p:nvPr/>
        </p:nvSpPr>
        <p:spPr bwMode="auto">
          <a:xfrm>
            <a:off x="3312306" y="4195538"/>
            <a:ext cx="1028700" cy="188530"/>
          </a:xfrm>
          <a:prstGeom prst="rect">
            <a:avLst/>
          </a:prstGeom>
          <a:solidFill>
            <a:srgbClr val="FFFFFF"/>
          </a:solidFill>
          <a:ln w="9525">
            <a:solidFill>
              <a:srgbClr val="00B05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hu-H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Központi műtő 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Text Box 20"/>
          <p:cNvSpPr txBox="1">
            <a:spLocks noChangeArrowheads="1"/>
          </p:cNvSpPr>
          <p:nvPr/>
        </p:nvSpPr>
        <p:spPr bwMode="auto">
          <a:xfrm>
            <a:off x="3312306" y="3610505"/>
            <a:ext cx="1028700" cy="457200"/>
          </a:xfrm>
          <a:prstGeom prst="rect">
            <a:avLst/>
          </a:prstGeom>
          <a:solidFill>
            <a:srgbClr val="FFFFFF"/>
          </a:solidFill>
          <a:ln w="9525">
            <a:solidFill>
              <a:srgbClr val="00B05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hu-H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Klinikai Szakpszichológus, pszichológus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Text Box 12"/>
          <p:cNvSpPr txBox="1">
            <a:spLocks noChangeArrowheads="1"/>
          </p:cNvSpPr>
          <p:nvPr/>
        </p:nvSpPr>
        <p:spPr bwMode="auto">
          <a:xfrm>
            <a:off x="5162960" y="5924434"/>
            <a:ext cx="1015992" cy="222868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hu-H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Orvos írnokok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Egyenes összekötő 10"/>
          <p:cNvCxnSpPr/>
          <p:nvPr/>
        </p:nvCxnSpPr>
        <p:spPr>
          <a:xfrm flipH="1">
            <a:off x="3189883" y="3296618"/>
            <a:ext cx="1" cy="1797840"/>
          </a:xfrm>
          <a:prstGeom prst="line">
            <a:avLst/>
          </a:prstGeom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gyenes összekötő 13"/>
          <p:cNvCxnSpPr>
            <a:stCxn id="71" idx="3"/>
          </p:cNvCxnSpPr>
          <p:nvPr/>
        </p:nvCxnSpPr>
        <p:spPr>
          <a:xfrm>
            <a:off x="3097568" y="3289654"/>
            <a:ext cx="21959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Egyenes összekötő 25"/>
          <p:cNvCxnSpPr>
            <a:stCxn id="67" idx="3"/>
          </p:cNvCxnSpPr>
          <p:nvPr/>
        </p:nvCxnSpPr>
        <p:spPr>
          <a:xfrm>
            <a:off x="3010148" y="3793982"/>
            <a:ext cx="31486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Egyenes összekötő 27"/>
          <p:cNvCxnSpPr>
            <a:stCxn id="63" idx="3"/>
          </p:cNvCxnSpPr>
          <p:nvPr/>
        </p:nvCxnSpPr>
        <p:spPr>
          <a:xfrm flipV="1">
            <a:off x="3010147" y="4250570"/>
            <a:ext cx="314867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Egyenes összekötő 34"/>
          <p:cNvCxnSpPr/>
          <p:nvPr/>
        </p:nvCxnSpPr>
        <p:spPr>
          <a:xfrm>
            <a:off x="2996994" y="4708955"/>
            <a:ext cx="17058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gyenes összekötő 38"/>
          <p:cNvCxnSpPr/>
          <p:nvPr/>
        </p:nvCxnSpPr>
        <p:spPr>
          <a:xfrm flipV="1">
            <a:off x="3010147" y="5094457"/>
            <a:ext cx="179736" cy="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 Box 33"/>
          <p:cNvSpPr txBox="1">
            <a:spLocks noChangeArrowheads="1"/>
          </p:cNvSpPr>
          <p:nvPr/>
        </p:nvSpPr>
        <p:spPr bwMode="auto">
          <a:xfrm>
            <a:off x="5167033" y="3728085"/>
            <a:ext cx="1028700" cy="314325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hu-H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Ápolási Igazgatói</a:t>
            </a:r>
            <a:r>
              <a:rPr kumimoji="0" lang="hu-HU" sz="8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 helyettes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4" name="Text Box 33"/>
          <p:cNvSpPr txBox="1">
            <a:spLocks noChangeArrowheads="1"/>
          </p:cNvSpPr>
          <p:nvPr/>
        </p:nvSpPr>
        <p:spPr bwMode="auto">
          <a:xfrm>
            <a:off x="5150252" y="4140653"/>
            <a:ext cx="1028700" cy="336097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hu-H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Ápolási Igazgatói Titkárság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5" name="Text Box 33"/>
          <p:cNvSpPr txBox="1">
            <a:spLocks noChangeArrowheads="1"/>
          </p:cNvSpPr>
          <p:nvPr/>
        </p:nvSpPr>
        <p:spPr bwMode="auto">
          <a:xfrm>
            <a:off x="5141861" y="5276134"/>
            <a:ext cx="1028700" cy="52760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hu-HU" sz="800" dirty="0" smtClean="0">
                <a:latin typeface="Calibri" pitchFamily="34" charset="0"/>
                <a:cs typeface="Arial" pitchFamily="34" charset="0"/>
              </a:rPr>
              <a:t>Vezető szakasszisztens, asszisztensek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6" name="Text Box 33"/>
          <p:cNvSpPr txBox="1">
            <a:spLocks noChangeArrowheads="1"/>
          </p:cNvSpPr>
          <p:nvPr/>
        </p:nvSpPr>
        <p:spPr bwMode="auto">
          <a:xfrm>
            <a:off x="5158642" y="4618965"/>
            <a:ext cx="1011919" cy="521324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hu-HU" sz="800" dirty="0" smtClean="0">
                <a:latin typeface="Calibri" pitchFamily="34" charset="0"/>
                <a:cs typeface="Arial" pitchFamily="34" charset="0"/>
              </a:rPr>
              <a:t>Osztályvezető főnővérek, részlegvezető főnővérek, főápoló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8" name="Text Box 24"/>
          <p:cNvSpPr txBox="1">
            <a:spLocks noChangeArrowheads="1"/>
          </p:cNvSpPr>
          <p:nvPr/>
        </p:nvSpPr>
        <p:spPr bwMode="auto">
          <a:xfrm>
            <a:off x="6429973" y="3698706"/>
            <a:ext cx="1618875" cy="344456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hu-H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Központi műtő és sterilizáló egészségügyi szakdolgozók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2" name="Text Box 27"/>
          <p:cNvSpPr txBox="1">
            <a:spLocks noChangeArrowheads="1"/>
          </p:cNvSpPr>
          <p:nvPr/>
        </p:nvSpPr>
        <p:spPr bwMode="auto">
          <a:xfrm>
            <a:off x="6457867" y="4102342"/>
            <a:ext cx="1590975" cy="435941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hu-HU" sz="800" dirty="0" smtClean="0">
                <a:latin typeface="Calibri" pitchFamily="34" charset="0"/>
                <a:cs typeface="Arial" pitchFamily="34" charset="0"/>
              </a:rPr>
              <a:t>Központi gyógytorna és fizioterápiás egység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5" name="Text Box 23"/>
          <p:cNvSpPr txBox="1">
            <a:spLocks noChangeArrowheads="1"/>
          </p:cNvSpPr>
          <p:nvPr/>
        </p:nvSpPr>
        <p:spPr bwMode="auto">
          <a:xfrm>
            <a:off x="6457868" y="4909344"/>
            <a:ext cx="1618874" cy="260663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hu-HU" sz="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Szociális munkás</a:t>
            </a:r>
            <a:endParaRPr kumimoji="0" lang="hu-H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7" name="Text Box 26"/>
          <p:cNvSpPr txBox="1">
            <a:spLocks noChangeArrowheads="1"/>
          </p:cNvSpPr>
          <p:nvPr/>
        </p:nvSpPr>
        <p:spPr bwMode="auto">
          <a:xfrm>
            <a:off x="6443917" y="4628571"/>
            <a:ext cx="1618873" cy="223023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hu-HU" sz="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Dietetika</a:t>
            </a:r>
            <a:endParaRPr kumimoji="0" lang="hu-H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Text Box 28"/>
          <p:cNvSpPr txBox="1">
            <a:spLocks noChangeArrowheads="1"/>
          </p:cNvSpPr>
          <p:nvPr/>
        </p:nvSpPr>
        <p:spPr bwMode="auto">
          <a:xfrm>
            <a:off x="6457867" y="5244722"/>
            <a:ext cx="1618873" cy="457200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hu-H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Intézeti, Közforgalmú Gyógyszertár asszisztensek, szakasszisztensek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9" name="Text Box 25"/>
          <p:cNvSpPr txBox="1">
            <a:spLocks noChangeArrowheads="1"/>
          </p:cNvSpPr>
          <p:nvPr/>
        </p:nvSpPr>
        <p:spPr bwMode="auto">
          <a:xfrm>
            <a:off x="6457868" y="5753689"/>
            <a:ext cx="1629495" cy="170745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kumimoji="0" lang="hu-H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Betegkísérők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0" name="Text Box 25"/>
          <p:cNvSpPr txBox="1">
            <a:spLocks noChangeArrowheads="1"/>
          </p:cNvSpPr>
          <p:nvPr/>
        </p:nvSpPr>
        <p:spPr bwMode="auto">
          <a:xfrm>
            <a:off x="6457867" y="5953042"/>
            <a:ext cx="1618870" cy="195966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hu-HU" sz="800" dirty="0" smtClean="0">
                <a:latin typeface="Calibri" pitchFamily="34" charset="0"/>
                <a:cs typeface="Arial" pitchFamily="34" charset="0"/>
              </a:rPr>
              <a:t>Védőnő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7" name="Egyenes összekötő 86"/>
          <p:cNvCxnSpPr/>
          <p:nvPr/>
        </p:nvCxnSpPr>
        <p:spPr>
          <a:xfrm>
            <a:off x="6256274" y="3574770"/>
            <a:ext cx="0" cy="2792862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Egyenes összekötő 88"/>
          <p:cNvCxnSpPr>
            <a:stCxn id="93" idx="3"/>
          </p:cNvCxnSpPr>
          <p:nvPr/>
        </p:nvCxnSpPr>
        <p:spPr>
          <a:xfrm flipV="1">
            <a:off x="6195733" y="3885247"/>
            <a:ext cx="223615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Egyenes összekötő 91"/>
          <p:cNvCxnSpPr>
            <a:stCxn id="94" idx="3"/>
          </p:cNvCxnSpPr>
          <p:nvPr/>
        </p:nvCxnSpPr>
        <p:spPr>
          <a:xfrm flipV="1">
            <a:off x="6178952" y="4306837"/>
            <a:ext cx="251023" cy="18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Egyenes összekötő 121"/>
          <p:cNvCxnSpPr>
            <a:endCxn id="105" idx="1"/>
          </p:cNvCxnSpPr>
          <p:nvPr/>
        </p:nvCxnSpPr>
        <p:spPr>
          <a:xfrm>
            <a:off x="6256274" y="5039675"/>
            <a:ext cx="201594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Egyenes összekötő 125"/>
          <p:cNvCxnSpPr>
            <a:stCxn id="107" idx="1"/>
          </p:cNvCxnSpPr>
          <p:nvPr/>
        </p:nvCxnSpPr>
        <p:spPr>
          <a:xfrm flipH="1" flipV="1">
            <a:off x="6170561" y="4740082"/>
            <a:ext cx="273356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Egyenes összekötő 129"/>
          <p:cNvCxnSpPr>
            <a:stCxn id="108" idx="1"/>
          </p:cNvCxnSpPr>
          <p:nvPr/>
        </p:nvCxnSpPr>
        <p:spPr>
          <a:xfrm flipH="1">
            <a:off x="6256274" y="5473322"/>
            <a:ext cx="2015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Egyenes összekötő 131"/>
          <p:cNvCxnSpPr>
            <a:stCxn id="109" idx="1"/>
          </p:cNvCxnSpPr>
          <p:nvPr/>
        </p:nvCxnSpPr>
        <p:spPr>
          <a:xfrm flipH="1" flipV="1">
            <a:off x="6256274" y="5839061"/>
            <a:ext cx="201594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Egyenes összekötő 133"/>
          <p:cNvCxnSpPr>
            <a:stCxn id="110" idx="1"/>
          </p:cNvCxnSpPr>
          <p:nvPr/>
        </p:nvCxnSpPr>
        <p:spPr>
          <a:xfrm flipH="1">
            <a:off x="6256274" y="6051025"/>
            <a:ext cx="20159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 Box 10"/>
          <p:cNvSpPr txBox="1">
            <a:spLocks noChangeArrowheads="1"/>
          </p:cNvSpPr>
          <p:nvPr/>
        </p:nvSpPr>
        <p:spPr bwMode="auto">
          <a:xfrm>
            <a:off x="931210" y="5394213"/>
            <a:ext cx="1014206" cy="212678"/>
          </a:xfrm>
          <a:prstGeom prst="rect">
            <a:avLst/>
          </a:prstGeom>
          <a:solidFill>
            <a:srgbClr val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hu-HU" sz="800" dirty="0" err="1" smtClean="0">
                <a:latin typeface="Calibri" pitchFamily="34" charset="0"/>
                <a:cs typeface="Arial" pitchFamily="34" charset="0"/>
              </a:rPr>
              <a:t>Study</a:t>
            </a:r>
            <a:r>
              <a:rPr lang="hu-HU" sz="800" dirty="0" smtClean="0">
                <a:latin typeface="Calibri" pitchFamily="34" charset="0"/>
                <a:cs typeface="Arial" pitchFamily="34" charset="0"/>
              </a:rPr>
              <a:t> Koordinátor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4" name="Text Box 10"/>
          <p:cNvSpPr txBox="1">
            <a:spLocks noChangeArrowheads="1"/>
          </p:cNvSpPr>
          <p:nvPr/>
        </p:nvSpPr>
        <p:spPr bwMode="auto">
          <a:xfrm>
            <a:off x="931210" y="5659531"/>
            <a:ext cx="1015587" cy="286910"/>
          </a:xfrm>
          <a:prstGeom prst="rect">
            <a:avLst/>
          </a:prstGeom>
          <a:solidFill>
            <a:srgbClr val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hu-HU" sz="800" dirty="0" smtClean="0">
                <a:latin typeface="Calibri" pitchFamily="34" charset="0"/>
                <a:cs typeface="Arial" pitchFamily="34" charset="0"/>
              </a:rPr>
              <a:t>Projekt menedzser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0" name="Egyenes összekötő 19"/>
          <p:cNvCxnSpPr>
            <a:endCxn id="114" idx="1"/>
          </p:cNvCxnSpPr>
          <p:nvPr/>
        </p:nvCxnSpPr>
        <p:spPr>
          <a:xfrm flipV="1">
            <a:off x="466401" y="5802986"/>
            <a:ext cx="464809" cy="748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Text Box 7"/>
          <p:cNvSpPr txBox="1">
            <a:spLocks noChangeArrowheads="1"/>
          </p:cNvSpPr>
          <p:nvPr/>
        </p:nvSpPr>
        <p:spPr bwMode="auto">
          <a:xfrm>
            <a:off x="931210" y="6256121"/>
            <a:ext cx="1014206" cy="363931"/>
          </a:xfrm>
          <a:prstGeom prst="rect">
            <a:avLst/>
          </a:prstGeom>
          <a:solidFill>
            <a:srgbClr val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hu-HU" sz="800" dirty="0" smtClean="0">
                <a:latin typeface="Calibri" pitchFamily="34" charset="0"/>
                <a:cs typeface="Arial" pitchFamily="34" charset="0"/>
              </a:rPr>
              <a:t>Élelmezés</a:t>
            </a:r>
            <a:r>
              <a:rPr kumimoji="0" lang="hu-H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 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6" name="Text Box 7"/>
          <p:cNvSpPr txBox="1">
            <a:spLocks noChangeArrowheads="1"/>
          </p:cNvSpPr>
          <p:nvPr/>
        </p:nvSpPr>
        <p:spPr bwMode="auto">
          <a:xfrm>
            <a:off x="931210" y="5982688"/>
            <a:ext cx="1015587" cy="210341"/>
          </a:xfrm>
          <a:prstGeom prst="rect">
            <a:avLst/>
          </a:prstGeom>
          <a:solidFill>
            <a:srgbClr val="FFFFFF"/>
          </a:solidFill>
          <a:ln w="9525">
            <a:solidFill>
              <a:srgbClr val="FF0000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hu-H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hu-HU" sz="800" dirty="0" smtClean="0">
                <a:latin typeface="Calibri" pitchFamily="34" charset="0"/>
                <a:cs typeface="Arial" pitchFamily="34" charset="0"/>
              </a:rPr>
              <a:t>Mosoda</a:t>
            </a:r>
            <a:r>
              <a:rPr kumimoji="0" lang="hu-HU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itchFamily="34" charset="0"/>
                <a:cs typeface="Arial" pitchFamily="34" charset="0"/>
              </a:rPr>
              <a:t> 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5" name="Egyenes összekötő 14"/>
          <p:cNvCxnSpPr>
            <a:endCxn id="116" idx="1"/>
          </p:cNvCxnSpPr>
          <p:nvPr/>
        </p:nvCxnSpPr>
        <p:spPr>
          <a:xfrm flipV="1">
            <a:off x="466401" y="6087859"/>
            <a:ext cx="464809" cy="17666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Egyenes összekötő 23"/>
          <p:cNvCxnSpPr/>
          <p:nvPr/>
        </p:nvCxnSpPr>
        <p:spPr>
          <a:xfrm>
            <a:off x="490418" y="6779038"/>
            <a:ext cx="0" cy="0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Egyenes összekötő 118"/>
          <p:cNvCxnSpPr/>
          <p:nvPr/>
        </p:nvCxnSpPr>
        <p:spPr>
          <a:xfrm>
            <a:off x="476370" y="6545847"/>
            <a:ext cx="466367" cy="3861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Egyenes összekötő 12"/>
          <p:cNvCxnSpPr>
            <a:endCxn id="49" idx="0"/>
          </p:cNvCxnSpPr>
          <p:nvPr/>
        </p:nvCxnSpPr>
        <p:spPr>
          <a:xfrm>
            <a:off x="6876549" y="1470491"/>
            <a:ext cx="20609" cy="1792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gyenes összekötő 37"/>
          <p:cNvCxnSpPr>
            <a:endCxn id="95" idx="3"/>
          </p:cNvCxnSpPr>
          <p:nvPr/>
        </p:nvCxnSpPr>
        <p:spPr>
          <a:xfrm flipH="1">
            <a:off x="6170561" y="5539934"/>
            <a:ext cx="857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Text Box 26"/>
          <p:cNvSpPr txBox="1">
            <a:spLocks noChangeArrowheads="1"/>
          </p:cNvSpPr>
          <p:nvPr/>
        </p:nvSpPr>
        <p:spPr bwMode="auto">
          <a:xfrm>
            <a:off x="6468490" y="6256121"/>
            <a:ext cx="1618873" cy="223023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000"/>
              </a:spcAft>
              <a:buClrTx/>
              <a:buSzTx/>
              <a:buFontTx/>
              <a:buNone/>
              <a:tabLst/>
            </a:pPr>
            <a:r>
              <a:rPr lang="hu-HU" sz="800" dirty="0" smtClean="0">
                <a:latin typeface="Calibri" pitchFamily="34" charset="0"/>
                <a:cs typeface="Arial" pitchFamily="34" charset="0"/>
              </a:rPr>
              <a:t>Takarítási és tisztasági csoport</a:t>
            </a:r>
            <a:endParaRPr kumimoji="0" lang="hu-H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6" name="Egyenes összekötő 45"/>
          <p:cNvCxnSpPr>
            <a:endCxn id="111" idx="1"/>
          </p:cNvCxnSpPr>
          <p:nvPr/>
        </p:nvCxnSpPr>
        <p:spPr>
          <a:xfrm>
            <a:off x="6256274" y="6367632"/>
            <a:ext cx="212216" cy="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Egyenes összekötő 98"/>
          <p:cNvCxnSpPr>
            <a:endCxn id="80" idx="3"/>
          </p:cNvCxnSpPr>
          <p:nvPr/>
        </p:nvCxnSpPr>
        <p:spPr>
          <a:xfrm flipH="1">
            <a:off x="6178952" y="6035868"/>
            <a:ext cx="7732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3281942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aM0RZ_BJJUyj_xugS8mg"/>
</p:tagLst>
</file>

<file path=ppt/theme/theme1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45</TotalTime>
  <Words>148</Words>
  <Application>Microsoft Office PowerPoint</Application>
  <PresentationFormat>Egyéni</PresentationFormat>
  <Paragraphs>45</Paragraphs>
  <Slides>1</Slides>
  <Notes>0</Notes>
  <HiddenSlides>0</HiddenSlides>
  <MMClips>0</MMClips>
  <ScaleCrop>false</ScaleCrop>
  <HeadingPairs>
    <vt:vector size="6" baseType="variant"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1</vt:i4>
      </vt:variant>
    </vt:vector>
  </HeadingPairs>
  <TitlesOfParts>
    <vt:vector size="3" baseType="lpstr">
      <vt:lpstr>Office-téma</vt:lpstr>
      <vt:lpstr>think-cell Slide</vt:lpstr>
      <vt:lpstr>Városi intézmény felépítése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rányító megyei kórház felépítése</dc:title>
  <dc:creator>Admin</dc:creator>
  <cp:lastModifiedBy>Hospi</cp:lastModifiedBy>
  <cp:revision>53</cp:revision>
  <cp:lastPrinted>2023-06-12T11:22:35Z</cp:lastPrinted>
  <dcterms:created xsi:type="dcterms:W3CDTF">2021-03-01T09:57:57Z</dcterms:created>
  <dcterms:modified xsi:type="dcterms:W3CDTF">2023-06-12T11:23:15Z</dcterms:modified>
</cp:coreProperties>
</file>